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1144" r:id="rId5"/>
    <p:sldId id="1145" r:id="rId6"/>
    <p:sldId id="1159" r:id="rId7"/>
    <p:sldId id="1160" r:id="rId8"/>
    <p:sldId id="1157" r:id="rId9"/>
    <p:sldId id="1151" r:id="rId10"/>
  </p:sldIdLst>
  <p:sldSz cx="9906000" cy="6858000" type="A4"/>
  <p:notesSz cx="6799263" cy="99298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2313"/>
    <a:srgbClr val="F100C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60CCF4-010C-4AA3-9EE8-2A8A15F89E49}" v="3" dt="2020-03-13T02:49:07.6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8" d="100"/>
          <a:sy n="128" d="100"/>
        </p:scale>
        <p:origin x="90" y="126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ah Walford" userId="52470b05-65ae-4c03-9d0e-8a35f0f98349" providerId="ADAL" clId="{46475A31-658B-4ED5-803A-15FF6889524D}"/>
    <pc:docChg chg="addSld delSld modSld modSection">
      <pc:chgData name="Hannah Walford" userId="52470b05-65ae-4c03-9d0e-8a35f0f98349" providerId="ADAL" clId="{46475A31-658B-4ED5-803A-15FF6889524D}" dt="2019-09-24T03:22:55.538" v="1" actId="2696"/>
      <pc:docMkLst>
        <pc:docMk/>
      </pc:docMkLst>
    </pc:docChg>
  </pc:docChgLst>
  <pc:docChgLst>
    <pc:chgData name="Amy Kelley" userId="d0f39dc9-c5f0-460b-9084-d597ba7e7a20" providerId="ADAL" clId="{3563F0A1-F5D5-44EE-8C08-6458854CC404}"/>
    <pc:docChg chg="undo custSel modMainMaster">
      <pc:chgData name="Amy Kelley" userId="d0f39dc9-c5f0-460b-9084-d597ba7e7a20" providerId="ADAL" clId="{3563F0A1-F5D5-44EE-8C08-6458854CC404}" dt="2019-08-26T05:34:43.668" v="254" actId="20577"/>
      <pc:docMkLst>
        <pc:docMk/>
      </pc:docMkLst>
      <pc:sldMasterChg chg="modSldLayout">
        <pc:chgData name="Amy Kelley" userId="d0f39dc9-c5f0-460b-9084-d597ba7e7a20" providerId="ADAL" clId="{3563F0A1-F5D5-44EE-8C08-6458854CC404}" dt="2019-08-26T05:34:43.668" v="254" actId="20577"/>
        <pc:sldMasterMkLst>
          <pc:docMk/>
          <pc:sldMasterMk cId="2815944817" sldId="2147483660"/>
        </pc:sldMasterMkLst>
        <pc:sldLayoutChg chg="modSp">
          <pc:chgData name="Amy Kelley" userId="d0f39dc9-c5f0-460b-9084-d597ba7e7a20" providerId="ADAL" clId="{3563F0A1-F5D5-44EE-8C08-6458854CC404}" dt="2019-08-26T05:34:43.668" v="254" actId="20577"/>
          <pc:sldLayoutMkLst>
            <pc:docMk/>
            <pc:sldMasterMk cId="2815944817" sldId="2147483660"/>
            <pc:sldLayoutMk cId="2658653036" sldId="2147483709"/>
          </pc:sldLayoutMkLst>
          <pc:spChg chg="mod">
            <ac:chgData name="Amy Kelley" userId="d0f39dc9-c5f0-460b-9084-d597ba7e7a20" providerId="ADAL" clId="{3563F0A1-F5D5-44EE-8C08-6458854CC404}" dt="2019-08-26T05:34:43.668" v="254" actId="20577"/>
            <ac:spMkLst>
              <pc:docMk/>
              <pc:sldMasterMk cId="2815944817" sldId="2147483660"/>
              <pc:sldLayoutMk cId="2658653036" sldId="2147483709"/>
              <ac:spMk id="8" creationId="{817B8989-1361-5242-B9EB-9413E8BC490E}"/>
            </ac:spMkLst>
          </pc:spChg>
        </pc:sldLayoutChg>
        <pc:sldLayoutChg chg="modSp">
          <pc:chgData name="Amy Kelley" userId="d0f39dc9-c5f0-460b-9084-d597ba7e7a20" providerId="ADAL" clId="{3563F0A1-F5D5-44EE-8C08-6458854CC404}" dt="2019-08-26T05:34:31.384" v="225" actId="20577"/>
          <pc:sldLayoutMkLst>
            <pc:docMk/>
            <pc:sldMasterMk cId="2815944817" sldId="2147483660"/>
            <pc:sldLayoutMk cId="335554828" sldId="2147483711"/>
          </pc:sldLayoutMkLst>
          <pc:spChg chg="mod">
            <ac:chgData name="Amy Kelley" userId="d0f39dc9-c5f0-460b-9084-d597ba7e7a20" providerId="ADAL" clId="{3563F0A1-F5D5-44EE-8C08-6458854CC404}" dt="2019-08-26T05:34:31.384" v="225" actId="20577"/>
            <ac:spMkLst>
              <pc:docMk/>
              <pc:sldMasterMk cId="2815944817" sldId="2147483660"/>
              <pc:sldLayoutMk cId="335554828" sldId="2147483711"/>
              <ac:spMk id="8" creationId="{D7257D87-0A41-F541-9BD3-F2D090EBD932}"/>
            </ac:spMkLst>
          </pc:spChg>
        </pc:sldLayoutChg>
        <pc:sldLayoutChg chg="modSp">
          <pc:chgData name="Amy Kelley" userId="d0f39dc9-c5f0-460b-9084-d597ba7e7a20" providerId="ADAL" clId="{3563F0A1-F5D5-44EE-8C08-6458854CC404}" dt="2019-08-26T05:33:59.333" v="203" actId="20577"/>
          <pc:sldLayoutMkLst>
            <pc:docMk/>
            <pc:sldMasterMk cId="2815944817" sldId="2147483660"/>
            <pc:sldLayoutMk cId="2513348540" sldId="2147483718"/>
          </pc:sldLayoutMkLst>
          <pc:spChg chg="mod">
            <ac:chgData name="Amy Kelley" userId="d0f39dc9-c5f0-460b-9084-d597ba7e7a20" providerId="ADAL" clId="{3563F0A1-F5D5-44EE-8C08-6458854CC404}" dt="2019-08-26T05:33:59.333" v="203" actId="20577"/>
            <ac:spMkLst>
              <pc:docMk/>
              <pc:sldMasterMk cId="2815944817" sldId="2147483660"/>
              <pc:sldLayoutMk cId="2513348540" sldId="2147483718"/>
              <ac:spMk id="3" creationId="{488E577E-30E0-5D49-A8DA-3F600377E8A6}"/>
            </ac:spMkLst>
          </pc:spChg>
          <pc:spChg chg="mod">
            <ac:chgData name="Amy Kelley" userId="d0f39dc9-c5f0-460b-9084-d597ba7e7a20" providerId="ADAL" clId="{3563F0A1-F5D5-44EE-8C08-6458854CC404}" dt="2019-08-26T05:20:43.033" v="169" actId="1076"/>
            <ac:spMkLst>
              <pc:docMk/>
              <pc:sldMasterMk cId="2815944817" sldId="2147483660"/>
              <pc:sldLayoutMk cId="2513348540" sldId="2147483718"/>
              <ac:spMk id="7" creationId="{A10054D0-EBB3-FB4F-AB08-DCD9E61CEC13}"/>
            </ac:spMkLst>
          </pc:spChg>
        </pc:sldLayoutChg>
      </pc:sldMasterChg>
    </pc:docChg>
  </pc:docChgLst>
  <pc:docChgLst>
    <pc:chgData name="Amy Kelley" userId="d0f39dc9-c5f0-460b-9084-d597ba7e7a20" providerId="ADAL" clId="{0997E40E-C7E0-4975-BD65-FCCBA60449E2}"/>
    <pc:docChg chg="modMainMaster">
      <pc:chgData name="Amy Kelley" userId="d0f39dc9-c5f0-460b-9084-d597ba7e7a20" providerId="ADAL" clId="{0997E40E-C7E0-4975-BD65-FCCBA60449E2}" dt="2019-08-21T22:54:43.716" v="206" actId="20577"/>
      <pc:docMkLst>
        <pc:docMk/>
      </pc:docMkLst>
      <pc:sldMasterChg chg="modSldLayout">
        <pc:chgData name="Amy Kelley" userId="d0f39dc9-c5f0-460b-9084-d597ba7e7a20" providerId="ADAL" clId="{0997E40E-C7E0-4975-BD65-FCCBA60449E2}" dt="2019-08-21T22:54:43.716" v="206" actId="20577"/>
        <pc:sldMasterMkLst>
          <pc:docMk/>
          <pc:sldMasterMk cId="2815944817" sldId="2147483660"/>
        </pc:sldMasterMkLst>
      </pc:sldMasterChg>
    </pc:docChg>
  </pc:docChgLst>
  <pc:docChgLst>
    <pc:chgData name="Amy Kelley" userId="d0f39dc9-c5f0-460b-9084-d597ba7e7a20" providerId="ADAL" clId="{5DBCFC2C-8310-4A9C-8434-61B352E84CC4}"/>
    <pc:docChg chg="addSld delSld modSld modSection">
      <pc:chgData name="Amy Kelley" userId="d0f39dc9-c5f0-460b-9084-d597ba7e7a20" providerId="ADAL" clId="{5DBCFC2C-8310-4A9C-8434-61B352E84CC4}" dt="2019-10-31T23:56:38.349" v="9" actId="2696"/>
      <pc:docMkLst>
        <pc:docMk/>
      </pc:docMkLst>
      <pc:sldChg chg="add del">
        <pc:chgData name="Amy Kelley" userId="d0f39dc9-c5f0-460b-9084-d597ba7e7a20" providerId="ADAL" clId="{5DBCFC2C-8310-4A9C-8434-61B352E84CC4}" dt="2019-10-31T23:56:33.164" v="5" actId="2696"/>
        <pc:sldMkLst>
          <pc:docMk/>
          <pc:sldMk cId="712387673" sldId="1161"/>
        </pc:sldMkLst>
      </pc:sldChg>
      <pc:sldChg chg="add del">
        <pc:chgData name="Amy Kelley" userId="d0f39dc9-c5f0-460b-9084-d597ba7e7a20" providerId="ADAL" clId="{5DBCFC2C-8310-4A9C-8434-61B352E84CC4}" dt="2019-10-31T23:56:34.723" v="6" actId="2696"/>
        <pc:sldMkLst>
          <pc:docMk/>
          <pc:sldMk cId="4276534373" sldId="1162"/>
        </pc:sldMkLst>
      </pc:sldChg>
      <pc:sldChg chg="add del">
        <pc:chgData name="Amy Kelley" userId="d0f39dc9-c5f0-460b-9084-d597ba7e7a20" providerId="ADAL" clId="{5DBCFC2C-8310-4A9C-8434-61B352E84CC4}" dt="2019-10-31T23:56:36.269" v="7" actId="2696"/>
        <pc:sldMkLst>
          <pc:docMk/>
          <pc:sldMk cId="2204379838" sldId="1163"/>
        </pc:sldMkLst>
      </pc:sldChg>
      <pc:sldChg chg="add del">
        <pc:chgData name="Amy Kelley" userId="d0f39dc9-c5f0-460b-9084-d597ba7e7a20" providerId="ADAL" clId="{5DBCFC2C-8310-4A9C-8434-61B352E84CC4}" dt="2019-10-31T23:56:38.349" v="9" actId="2696"/>
        <pc:sldMkLst>
          <pc:docMk/>
          <pc:sldMk cId="225423276" sldId="1164"/>
        </pc:sldMkLst>
      </pc:sldChg>
      <pc:sldChg chg="add del">
        <pc:chgData name="Amy Kelley" userId="d0f39dc9-c5f0-460b-9084-d597ba7e7a20" providerId="ADAL" clId="{5DBCFC2C-8310-4A9C-8434-61B352E84CC4}" dt="2019-10-31T23:56:37.149" v="8" actId="2696"/>
        <pc:sldMkLst>
          <pc:docMk/>
          <pc:sldMk cId="23789253" sldId="1165"/>
        </pc:sldMkLst>
      </pc:sldChg>
    </pc:docChg>
  </pc:docChgLst>
  <pc:docChgLst>
    <pc:chgData name="Andrew McCulloch" userId="2f2cb74d-2e0f-40b3-b9a8-c8d205a12428" providerId="ADAL" clId="{6960CCF4-010C-4AA3-9EE8-2A8A15F89E49}"/>
    <pc:docChg chg="undo custSel addSld delSld modSld modMainMaster">
      <pc:chgData name="Andrew McCulloch" userId="2f2cb74d-2e0f-40b3-b9a8-c8d205a12428" providerId="ADAL" clId="{6960CCF4-010C-4AA3-9EE8-2A8A15F89E49}" dt="2020-03-13T02:49:14.571" v="26" actId="2696"/>
      <pc:docMkLst>
        <pc:docMk/>
      </pc:docMkLst>
      <pc:sldChg chg="modSp del">
        <pc:chgData name="Andrew McCulloch" userId="2f2cb74d-2e0f-40b3-b9a8-c8d205a12428" providerId="ADAL" clId="{6960CCF4-010C-4AA3-9EE8-2A8A15F89E49}" dt="2020-03-13T02:49:14.571" v="26" actId="2696"/>
        <pc:sldMkLst>
          <pc:docMk/>
          <pc:sldMk cId="2803462885" sldId="1155"/>
        </pc:sldMkLst>
        <pc:spChg chg="mod">
          <ac:chgData name="Andrew McCulloch" userId="2f2cb74d-2e0f-40b3-b9a8-c8d205a12428" providerId="ADAL" clId="{6960CCF4-010C-4AA3-9EE8-2A8A15F89E49}" dt="2020-03-13T02:48:48.262" v="22" actId="1076"/>
          <ac:spMkLst>
            <pc:docMk/>
            <pc:sldMk cId="2803462885" sldId="1155"/>
            <ac:spMk id="4" creationId="{9246017C-5549-44EB-843D-10D765CEA9A6}"/>
          </ac:spMkLst>
        </pc:spChg>
      </pc:sldChg>
      <pc:sldChg chg="add">
        <pc:chgData name="Andrew McCulloch" userId="2f2cb74d-2e0f-40b3-b9a8-c8d205a12428" providerId="ADAL" clId="{6960CCF4-010C-4AA3-9EE8-2A8A15F89E49}" dt="2020-03-13T02:49:07.681" v="25"/>
        <pc:sldMkLst>
          <pc:docMk/>
          <pc:sldMk cId="1540757598" sldId="1160"/>
        </pc:sldMkLst>
      </pc:sldChg>
      <pc:sldMasterChg chg="delSldLayout modSldLayout">
        <pc:chgData name="Andrew McCulloch" userId="2f2cb74d-2e0f-40b3-b9a8-c8d205a12428" providerId="ADAL" clId="{6960CCF4-010C-4AA3-9EE8-2A8A15F89E49}" dt="2020-03-13T02:48:58.909" v="24" actId="1076"/>
        <pc:sldMasterMkLst>
          <pc:docMk/>
          <pc:sldMasterMk cId="2815944817" sldId="2147483660"/>
        </pc:sldMasterMkLst>
        <pc:sldLayoutChg chg="del">
          <pc:chgData name="Andrew McCulloch" userId="2f2cb74d-2e0f-40b3-b9a8-c8d205a12428" providerId="ADAL" clId="{6960CCF4-010C-4AA3-9EE8-2A8A15F89E49}" dt="2020-03-13T01:11:32.586" v="16" actId="2696"/>
          <pc:sldLayoutMkLst>
            <pc:docMk/>
            <pc:sldMasterMk cId="2815944817" sldId="2147483660"/>
            <pc:sldLayoutMk cId="3006598503" sldId="2147483662"/>
          </pc:sldLayoutMkLst>
        </pc:sldLayoutChg>
        <pc:sldLayoutChg chg="del">
          <pc:chgData name="Andrew McCulloch" userId="2f2cb74d-2e0f-40b3-b9a8-c8d205a12428" providerId="ADAL" clId="{6960CCF4-010C-4AA3-9EE8-2A8A15F89E49}" dt="2020-03-13T01:10:58.029" v="4" actId="2696"/>
          <pc:sldLayoutMkLst>
            <pc:docMk/>
            <pc:sldMasterMk cId="2815944817" sldId="2147483660"/>
            <pc:sldLayoutMk cId="2808003491" sldId="2147483672"/>
          </pc:sldLayoutMkLst>
        </pc:sldLayoutChg>
        <pc:sldLayoutChg chg="del">
          <pc:chgData name="Andrew McCulloch" userId="2f2cb74d-2e0f-40b3-b9a8-c8d205a12428" providerId="ADAL" clId="{6960CCF4-010C-4AA3-9EE8-2A8A15F89E49}" dt="2020-03-13T01:10:58.860" v="5" actId="2696"/>
          <pc:sldLayoutMkLst>
            <pc:docMk/>
            <pc:sldMasterMk cId="2815944817" sldId="2147483660"/>
            <pc:sldLayoutMk cId="1964297893" sldId="2147483675"/>
          </pc:sldLayoutMkLst>
        </pc:sldLayoutChg>
        <pc:sldLayoutChg chg="del">
          <pc:chgData name="Andrew McCulloch" userId="2f2cb74d-2e0f-40b3-b9a8-c8d205a12428" providerId="ADAL" clId="{6960CCF4-010C-4AA3-9EE8-2A8A15F89E49}" dt="2020-03-13T01:10:59.348" v="6" actId="2696"/>
          <pc:sldLayoutMkLst>
            <pc:docMk/>
            <pc:sldMasterMk cId="2815944817" sldId="2147483660"/>
            <pc:sldLayoutMk cId="1645974287" sldId="2147483676"/>
          </pc:sldLayoutMkLst>
        </pc:sldLayoutChg>
        <pc:sldLayoutChg chg="del">
          <pc:chgData name="Andrew McCulloch" userId="2f2cb74d-2e0f-40b3-b9a8-c8d205a12428" providerId="ADAL" clId="{6960CCF4-010C-4AA3-9EE8-2A8A15F89E49}" dt="2020-03-13T01:10:59.683" v="7" actId="2696"/>
          <pc:sldLayoutMkLst>
            <pc:docMk/>
            <pc:sldMasterMk cId="2815944817" sldId="2147483660"/>
            <pc:sldLayoutMk cId="2050321114" sldId="2147483677"/>
          </pc:sldLayoutMkLst>
        </pc:sldLayoutChg>
        <pc:sldLayoutChg chg="del">
          <pc:chgData name="Andrew McCulloch" userId="2f2cb74d-2e0f-40b3-b9a8-c8d205a12428" providerId="ADAL" clId="{6960CCF4-010C-4AA3-9EE8-2A8A15F89E49}" dt="2020-03-13T01:10:59.883" v="8" actId="2696"/>
          <pc:sldLayoutMkLst>
            <pc:docMk/>
            <pc:sldMasterMk cId="2815944817" sldId="2147483660"/>
            <pc:sldLayoutMk cId="2735101968" sldId="2147483678"/>
          </pc:sldLayoutMkLst>
        </pc:sldLayoutChg>
        <pc:sldLayoutChg chg="del">
          <pc:chgData name="Andrew McCulloch" userId="2f2cb74d-2e0f-40b3-b9a8-c8d205a12428" providerId="ADAL" clId="{6960CCF4-010C-4AA3-9EE8-2A8A15F89E49}" dt="2020-03-13T01:11:00.096" v="9" actId="2696"/>
          <pc:sldLayoutMkLst>
            <pc:docMk/>
            <pc:sldMasterMk cId="2815944817" sldId="2147483660"/>
            <pc:sldLayoutMk cId="455413981" sldId="2147483679"/>
          </pc:sldLayoutMkLst>
        </pc:sldLayoutChg>
        <pc:sldLayoutChg chg="del">
          <pc:chgData name="Andrew McCulloch" userId="2f2cb74d-2e0f-40b3-b9a8-c8d205a12428" providerId="ADAL" clId="{6960CCF4-010C-4AA3-9EE8-2A8A15F89E49}" dt="2020-03-13T01:11:00.311" v="10" actId="2696"/>
          <pc:sldLayoutMkLst>
            <pc:docMk/>
            <pc:sldMasterMk cId="2815944817" sldId="2147483660"/>
            <pc:sldLayoutMk cId="3099286001" sldId="2147483680"/>
          </pc:sldLayoutMkLst>
        </pc:sldLayoutChg>
        <pc:sldLayoutChg chg="del">
          <pc:chgData name="Andrew McCulloch" userId="2f2cb74d-2e0f-40b3-b9a8-c8d205a12428" providerId="ADAL" clId="{6960CCF4-010C-4AA3-9EE8-2A8A15F89E49}" dt="2020-03-13T01:11:23.723" v="15" actId="2696"/>
          <pc:sldLayoutMkLst>
            <pc:docMk/>
            <pc:sldMasterMk cId="2815944817" sldId="2147483660"/>
            <pc:sldLayoutMk cId="4195369845" sldId="2147483682"/>
          </pc:sldLayoutMkLst>
        </pc:sldLayoutChg>
        <pc:sldLayoutChg chg="del">
          <pc:chgData name="Andrew McCulloch" userId="2f2cb74d-2e0f-40b3-b9a8-c8d205a12428" providerId="ADAL" clId="{6960CCF4-010C-4AA3-9EE8-2A8A15F89E49}" dt="2020-03-13T01:10:37.972" v="2" actId="2696"/>
          <pc:sldLayoutMkLst>
            <pc:docMk/>
            <pc:sldMasterMk cId="2815944817" sldId="2147483660"/>
            <pc:sldLayoutMk cId="652462068" sldId="2147483686"/>
          </pc:sldLayoutMkLst>
        </pc:sldLayoutChg>
        <pc:sldLayoutChg chg="del">
          <pc:chgData name="Andrew McCulloch" userId="2f2cb74d-2e0f-40b3-b9a8-c8d205a12428" providerId="ADAL" clId="{6960CCF4-010C-4AA3-9EE8-2A8A15F89E49}" dt="2020-03-13T01:11:00.511" v="11" actId="2696"/>
          <pc:sldLayoutMkLst>
            <pc:docMk/>
            <pc:sldMasterMk cId="2815944817" sldId="2147483660"/>
            <pc:sldLayoutMk cId="936969770" sldId="2147483708"/>
          </pc:sldLayoutMkLst>
        </pc:sldLayoutChg>
        <pc:sldLayoutChg chg="del">
          <pc:chgData name="Andrew McCulloch" userId="2f2cb74d-2e0f-40b3-b9a8-c8d205a12428" providerId="ADAL" clId="{6960CCF4-010C-4AA3-9EE8-2A8A15F89E49}" dt="2020-03-13T01:11:01.258" v="12" actId="2696"/>
          <pc:sldLayoutMkLst>
            <pc:docMk/>
            <pc:sldMasterMk cId="2815944817" sldId="2147483660"/>
            <pc:sldLayoutMk cId="2658653036" sldId="2147483709"/>
          </pc:sldLayoutMkLst>
        </pc:sldLayoutChg>
        <pc:sldLayoutChg chg="del">
          <pc:chgData name="Andrew McCulloch" userId="2f2cb74d-2e0f-40b3-b9a8-c8d205a12428" providerId="ADAL" clId="{6960CCF4-010C-4AA3-9EE8-2A8A15F89E49}" dt="2020-03-13T01:11:14.613" v="14" actId="2696"/>
          <pc:sldLayoutMkLst>
            <pc:docMk/>
            <pc:sldMasterMk cId="2815944817" sldId="2147483660"/>
            <pc:sldLayoutMk cId="335554828" sldId="2147483711"/>
          </pc:sldLayoutMkLst>
        </pc:sldLayoutChg>
        <pc:sldLayoutChg chg="del">
          <pc:chgData name="Andrew McCulloch" userId="2f2cb74d-2e0f-40b3-b9a8-c8d205a12428" providerId="ADAL" clId="{6960CCF4-010C-4AA3-9EE8-2A8A15F89E49}" dt="2020-03-13T01:11:01.714" v="13" actId="2696"/>
          <pc:sldLayoutMkLst>
            <pc:docMk/>
            <pc:sldMasterMk cId="2815944817" sldId="2147483660"/>
            <pc:sldLayoutMk cId="1046260746" sldId="2147483713"/>
          </pc:sldLayoutMkLst>
        </pc:sldLayoutChg>
        <pc:sldLayoutChg chg="del">
          <pc:chgData name="Andrew McCulloch" userId="2f2cb74d-2e0f-40b3-b9a8-c8d205a12428" providerId="ADAL" clId="{6960CCF4-010C-4AA3-9EE8-2A8A15F89E49}" dt="2020-03-13T01:10:37.846" v="0" actId="2696"/>
          <pc:sldLayoutMkLst>
            <pc:docMk/>
            <pc:sldMasterMk cId="2815944817" sldId="2147483660"/>
            <pc:sldLayoutMk cId="1019593291" sldId="2147483716"/>
          </pc:sldLayoutMkLst>
        </pc:sldLayoutChg>
        <pc:sldLayoutChg chg="addSp delSp modSp">
          <pc:chgData name="Andrew McCulloch" userId="2f2cb74d-2e0f-40b3-b9a8-c8d205a12428" providerId="ADAL" clId="{6960CCF4-010C-4AA3-9EE8-2A8A15F89E49}" dt="2020-03-13T02:48:58.909" v="24" actId="1076"/>
          <pc:sldLayoutMkLst>
            <pc:docMk/>
            <pc:sldMasterMk cId="2815944817" sldId="2147483660"/>
            <pc:sldLayoutMk cId="56233150" sldId="2147483717"/>
          </pc:sldLayoutMkLst>
          <pc:spChg chg="add del">
            <ac:chgData name="Andrew McCulloch" userId="2f2cb74d-2e0f-40b3-b9a8-c8d205a12428" providerId="ADAL" clId="{6960CCF4-010C-4AA3-9EE8-2A8A15F89E49}" dt="2020-03-13T02:41:48.714" v="17" actId="11529"/>
            <ac:spMkLst>
              <pc:docMk/>
              <pc:sldMasterMk cId="2815944817" sldId="2147483660"/>
              <pc:sldLayoutMk cId="56233150" sldId="2147483717"/>
              <ac:spMk id="2" creationId="{466524C3-8A42-49E6-8CAB-284E0AF8A46F}"/>
            </ac:spMkLst>
          </pc:spChg>
          <pc:spChg chg="add mod">
            <ac:chgData name="Andrew McCulloch" userId="2f2cb74d-2e0f-40b3-b9a8-c8d205a12428" providerId="ADAL" clId="{6960CCF4-010C-4AA3-9EE8-2A8A15F89E49}" dt="2020-03-13T02:48:58.909" v="24" actId="1076"/>
            <ac:spMkLst>
              <pc:docMk/>
              <pc:sldMasterMk cId="2815944817" sldId="2147483660"/>
              <pc:sldLayoutMk cId="56233150" sldId="2147483717"/>
              <ac:spMk id="4" creationId="{31901F20-AE8E-4BFC-9467-F999EEF07944}"/>
            </ac:spMkLst>
          </pc:spChg>
          <pc:spChg chg="del">
            <ac:chgData name="Andrew McCulloch" userId="2f2cb74d-2e0f-40b3-b9a8-c8d205a12428" providerId="ADAL" clId="{6960CCF4-010C-4AA3-9EE8-2A8A15F89E49}" dt="2020-03-13T02:41:54.980" v="19" actId="478"/>
            <ac:spMkLst>
              <pc:docMk/>
              <pc:sldMasterMk cId="2815944817" sldId="2147483660"/>
              <pc:sldLayoutMk cId="56233150" sldId="2147483717"/>
              <ac:spMk id="15" creationId="{29065E15-4564-48D5-BCED-9A1C4D5754E5}"/>
            </ac:spMkLst>
          </pc:spChg>
        </pc:sldLayoutChg>
        <pc:sldLayoutChg chg="del">
          <pc:chgData name="Andrew McCulloch" userId="2f2cb74d-2e0f-40b3-b9a8-c8d205a12428" providerId="ADAL" clId="{6960CCF4-010C-4AA3-9EE8-2A8A15F89E49}" dt="2020-03-13T01:10:37.991" v="3" actId="2696"/>
          <pc:sldLayoutMkLst>
            <pc:docMk/>
            <pc:sldMasterMk cId="2815944817" sldId="2147483660"/>
            <pc:sldLayoutMk cId="2513348540" sldId="2147483718"/>
          </pc:sldLayoutMkLst>
        </pc:sldLayoutChg>
        <pc:sldLayoutChg chg="del">
          <pc:chgData name="Andrew McCulloch" userId="2f2cb74d-2e0f-40b3-b9a8-c8d205a12428" providerId="ADAL" clId="{6960CCF4-010C-4AA3-9EE8-2A8A15F89E49}" dt="2020-03-13T01:10:37.890" v="1" actId="2696"/>
          <pc:sldLayoutMkLst>
            <pc:docMk/>
            <pc:sldMasterMk cId="2815944817" sldId="2147483660"/>
            <pc:sldLayoutMk cId="964638650" sldId="2147483719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8B001CC-6D6E-E649-A453-D7E060CECBD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BA6444-5C5E-0545-BCF4-B244B48F4764}" type="datetimeFigureOut">
              <a:rPr lang="en-US" smtClean="0">
                <a:latin typeface="Arial Regular"/>
              </a:rPr>
              <a:t>3/13/2020</a:t>
            </a:fld>
            <a:endParaRPr lang="en-US"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104901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 Regular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 Regular"/>
              </a:defRPr>
            </a:lvl1pPr>
          </a:lstStyle>
          <a:p>
            <a:fld id="{974BFD9F-77B7-C34C-A5AF-19C5DFBDFA5A}" type="datetimeFigureOut">
              <a:rPr lang="en-US" smtClean="0"/>
              <a:pPr/>
              <a:t>3/1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40287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 Regular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 Regular"/>
              </a:defRPr>
            </a:lvl1pPr>
          </a:lstStyle>
          <a:p>
            <a:fld id="{E9F10013-BBF1-6047-A569-3C3AECEFC7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14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tif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BCA9CB6-04EE-934B-B7C3-DC0A468D0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142"/>
          <a:stretch/>
        </p:blipFill>
        <p:spPr>
          <a:xfrm>
            <a:off x="6056691" y="253636"/>
            <a:ext cx="3849310" cy="63251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0053" y="4043609"/>
            <a:ext cx="5864879" cy="553998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&lt;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053" y="5368913"/>
            <a:ext cx="5864879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&lt;Project name/Meeting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1C2A39-6EC8-9840-8CCA-1245AC4D85E8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C3167C-BA46-C240-BAD8-7058F4414F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0053" y="5847092"/>
            <a:ext cx="5864879" cy="2215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&lt;Date&gt;</a:t>
            </a:r>
          </a:p>
        </p:txBody>
      </p:sp>
    </p:spTree>
    <p:extLst>
      <p:ext uri="{BB962C8B-B14F-4D97-AF65-F5344CB8AC3E}">
        <p14:creationId xmlns:p14="http://schemas.microsoft.com/office/powerpoint/2010/main" val="3093184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766E6E9-9D6B-421A-AB50-3FE8FCEB1A9E}"/>
              </a:ext>
            </a:extLst>
          </p:cNvPr>
          <p:cNvSpPr/>
          <p:nvPr userDrawn="1"/>
        </p:nvSpPr>
        <p:spPr>
          <a:xfrm>
            <a:off x="0" y="3645026"/>
            <a:ext cx="9906001" cy="22013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62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45978C9A-9947-494F-986F-4FB6380FA1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0053" y="4468711"/>
            <a:ext cx="7165511" cy="553998"/>
          </a:xfrm>
        </p:spPr>
        <p:txBody>
          <a:bodyPr anchor="ctr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&lt;Section Title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6029C1-F0D3-E645-B84A-A9F0234D71F7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9AE7AFB-9D49-6D4F-94A7-340F2672535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15343" y="3719975"/>
            <a:ext cx="1490658" cy="205147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C2E2863-D43A-49A8-9C4C-8309AE351605}"/>
              </a:ext>
            </a:extLst>
          </p:cNvPr>
          <p:cNvSpPr/>
          <p:nvPr userDrawn="1"/>
        </p:nvSpPr>
        <p:spPr>
          <a:xfrm>
            <a:off x="9956211" y="0"/>
            <a:ext cx="1743808" cy="1696916"/>
          </a:xfrm>
          <a:prstGeom prst="rect">
            <a:avLst/>
          </a:prstGeom>
          <a:noFill/>
          <a:ln w="12700">
            <a:noFill/>
          </a:ln>
        </p:spPr>
        <p:txBody>
          <a:bodyPr rtlCol="0" anchor="ctr"/>
          <a:lstStyle/>
          <a:p>
            <a:r>
              <a:rPr lang="en-AU" sz="1200" b="1">
                <a:solidFill>
                  <a:schemeClr val="tx1"/>
                </a:solidFill>
              </a:rPr>
              <a:t>Guidance not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>
                <a:solidFill>
                  <a:schemeClr val="tx1"/>
                </a:solidFill>
              </a:rPr>
              <a:t>Use this page when creating a longer, more complex deck to show the movement between sections / topics</a:t>
            </a:r>
          </a:p>
        </p:txBody>
      </p:sp>
    </p:spTree>
    <p:extLst>
      <p:ext uri="{BB962C8B-B14F-4D97-AF65-F5344CB8AC3E}">
        <p14:creationId xmlns:p14="http://schemas.microsoft.com/office/powerpoint/2010/main" val="19523314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ductive – storyline on 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B0E8EF6-54AF-1F4E-8AB6-52C4654FC54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747488" y="2518812"/>
            <a:ext cx="2379600" cy="781737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8E2079-C431-AD4F-A10D-74CA8DD1E00E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662C559-6CFB-4643-9BCD-AC483B793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50" y="165502"/>
            <a:ext cx="9310024" cy="332399"/>
          </a:xfrm>
        </p:spPr>
        <p:txBody>
          <a:bodyPr wrap="square">
            <a:spAutoFit/>
          </a:bodyPr>
          <a:lstStyle/>
          <a:p>
            <a:r>
              <a:rPr lang="en-US"/>
              <a:t>&lt;Governing thought&gt;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C1CCC39D-4A63-C14B-9F30-96872F51591C}"/>
              </a:ext>
            </a:extLst>
          </p:cNvPr>
          <p:cNvSpPr txBox="1">
            <a:spLocks/>
          </p:cNvSpPr>
          <p:nvPr userDrawn="1"/>
        </p:nvSpPr>
        <p:spPr>
          <a:xfrm>
            <a:off x="8633427" y="6503563"/>
            <a:ext cx="59153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9C213C6-22A9-3A46-8B14-E24FD2F6AE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32444" y="3394373"/>
            <a:ext cx="2494800" cy="646331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the reason the situation requires action&gt;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EF9B05F-319F-984D-90EF-396EE26665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47488" y="3394373"/>
            <a:ext cx="2379600" cy="1508105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 of your recommendation for action, the actions required to solve a problem or capture an opportunity, addressing the complications&gt;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7A0C3F0-9412-9341-AE76-6C144403A42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4507" y="3394373"/>
            <a:ext cx="2494800" cy="861774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situation, setting out the cause or a set of options or models&gt;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03F670-52D2-DC4F-AE4B-01E9D85FFDD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64506" y="1221625"/>
            <a:ext cx="8262582" cy="930244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Key question to be answered: xxx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CCDD185C-0E09-8F47-84C7-2C86D83CC18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732445" y="2518811"/>
            <a:ext cx="2772000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E7BC117-5854-7C44-8616-749F924E9D9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64506" y="2518812"/>
            <a:ext cx="2772000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AA90B9-B867-4F47-86D9-EC19D1C03F88}"/>
              </a:ext>
            </a:extLst>
          </p:cNvPr>
          <p:cNvSpPr/>
          <p:nvPr userDrawn="1"/>
        </p:nvSpPr>
        <p:spPr>
          <a:xfrm>
            <a:off x="9956211" y="-1"/>
            <a:ext cx="1743808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ssentially your Executive Summary pag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ituation, Complication and Resolution red boxes, includ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entence synthesis of the content below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.g.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ebsite is the most important channel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oo many sites and our user experience is poor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redesign and optimise our website and website infrastructur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below the red boxes should b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ints relating to the situation, complication, 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general depending on the complexity of what is being presented, there should be a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in the presentation to support each point listed 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if no page, it should be because the point is not at all contentious and is well known)</a:t>
            </a:r>
            <a:endParaRPr lang="en-AU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9910FB4E-3324-4970-831A-1C09AA45B4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958" y="6536005"/>
            <a:ext cx="7595562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</p:spTree>
    <p:extLst>
      <p:ext uri="{BB962C8B-B14F-4D97-AF65-F5344CB8AC3E}">
        <p14:creationId xmlns:p14="http://schemas.microsoft.com/office/powerpoint/2010/main" val="3733059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5">
          <p15:clr>
            <a:srgbClr val="FBAE40"/>
          </p15:clr>
        </p15:guide>
        <p15:guide id="2" orient="horz" pos="1888">
          <p15:clr>
            <a:srgbClr val="FBAE40"/>
          </p15:clr>
        </p15:guide>
        <p15:guide id="3" pos="2417">
          <p15:clr>
            <a:srgbClr val="FBAE40"/>
          </p15:clr>
        </p15:guide>
        <p15:guide id="4" orient="horz" pos="1003">
          <p15:clr>
            <a:srgbClr val="FBAE40"/>
          </p15:clr>
        </p15:guide>
        <p15:guide id="5" pos="43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024DBE2A-0DF4-7941-8FE0-5AA47E8E3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51" y="165502"/>
            <a:ext cx="9200091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&lt;Governing thought&gt;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1D6FDBD2-9BA3-DC48-8C64-3996330311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4233" y="2052352"/>
            <a:ext cx="2072721" cy="2629328"/>
          </a:xfrm>
          <a:solidFill>
            <a:srgbClr val="E42313"/>
          </a:solidFill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120775" indent="-1809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&lt;Overview of major, notable findings of analysis – maximum 3 bullets&gt;</a:t>
            </a:r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63DEA2D6-07DE-D84F-B51A-5336F06A7E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14233" y="1743375"/>
            <a:ext cx="2072721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Key takeaways: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A8979-D4A1-E442-BDD0-9E383818F46A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B4F3F40B-30CE-F84B-9B8E-AEB9C8F34EF3}"/>
              </a:ext>
            </a:extLst>
          </p:cNvPr>
          <p:cNvSpPr txBox="1">
            <a:spLocks/>
          </p:cNvSpPr>
          <p:nvPr userDrawn="1"/>
        </p:nvSpPr>
        <p:spPr>
          <a:xfrm>
            <a:off x="8633427" y="6503563"/>
            <a:ext cx="59153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7CA3B53C-E8D7-C445-B66F-4AEBEC2421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958" y="6536005"/>
            <a:ext cx="7595562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D31814E3-4F68-FF4F-A1BE-81AA2D604E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3051" y="1123946"/>
            <a:ext cx="9220067" cy="184666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Title for chart/analysis, including units and date range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11B0FC-7BBA-411C-8A12-8924E6921E5D}"/>
              </a:ext>
            </a:extLst>
          </p:cNvPr>
          <p:cNvSpPr/>
          <p:nvPr userDrawn="1"/>
        </p:nvSpPr>
        <p:spPr>
          <a:xfrm>
            <a:off x="9956211" y="-1"/>
            <a:ext cx="1743808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, aim for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hart / concept per page</a:t>
            </a:r>
            <a:endParaRPr lang="en-AU" sz="1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you have completed additional analysis to understand a chart better, include the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 of that analysis in the takeaways box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.e. ‘The steep decline in enrolments in 20xx is driven by …) 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to include enough content on the page and supporting the chart so that an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 reader would have no more outstanding questions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end over time, reasons for outliers in data, clear legend etc)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(outside of lead and subtitle)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AU" sz="12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E4D4C9D-76DC-4413-B8EC-74AFFF93B701}"/>
              </a:ext>
            </a:extLst>
          </p:cNvPr>
          <p:cNvCxnSpPr/>
          <p:nvPr userDrawn="1"/>
        </p:nvCxnSpPr>
        <p:spPr>
          <a:xfrm>
            <a:off x="272059" y="1322512"/>
            <a:ext cx="922006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1901F20-AE8E-4BFC-9467-F999EEF079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71463" y="1452654"/>
            <a:ext cx="6672262" cy="457835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623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3051" y="165502"/>
            <a:ext cx="9200091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&lt;Governing thought&gt;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E4CB7C8-8BF6-6549-8886-382C4C078358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81CB0771-269F-A54A-B96B-85252EC8A303}"/>
              </a:ext>
            </a:extLst>
          </p:cNvPr>
          <p:cNvSpPr txBox="1">
            <a:spLocks/>
          </p:cNvSpPr>
          <p:nvPr userDrawn="1"/>
        </p:nvSpPr>
        <p:spPr>
          <a:xfrm>
            <a:off x="8633427" y="6503563"/>
            <a:ext cx="59153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 Placeholder 22">
            <a:extLst>
              <a:ext uri="{FF2B5EF4-FFF2-40B4-BE49-F238E27FC236}">
                <a16:creationId xmlns:a16="http://schemas.microsoft.com/office/drawing/2014/main" id="{E5AF9498-5547-4428-AA93-FB2ACDFF71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958" y="6536005"/>
            <a:ext cx="7595562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</p:spTree>
    <p:extLst>
      <p:ext uri="{BB962C8B-B14F-4D97-AF65-F5344CB8AC3E}">
        <p14:creationId xmlns:p14="http://schemas.microsoft.com/office/powerpoint/2010/main" val="304570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BCA9CB6-04EE-934B-B7C3-DC0A468D0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142"/>
          <a:stretch/>
        </p:blipFill>
        <p:spPr>
          <a:xfrm>
            <a:off x="6056691" y="253636"/>
            <a:ext cx="3849310" cy="6325117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053" y="5368913"/>
            <a:ext cx="5864879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&lt;Project name/Meeting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1C2A39-6EC8-9840-8CCA-1245AC4D85E8}"/>
              </a:ext>
            </a:extLst>
          </p:cNvPr>
          <p:cNvSpPr/>
          <p:nvPr userDrawn="1"/>
        </p:nvSpPr>
        <p:spPr>
          <a:xfrm>
            <a:off x="0" y="0"/>
            <a:ext cx="177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C3167C-BA46-C240-BAD8-7058F4414F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0053" y="5847092"/>
            <a:ext cx="5864879" cy="22159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&lt;Date&gt;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C215A1-C7F2-0B44-9018-801881B5AF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0053" y="4043609"/>
            <a:ext cx="5864879" cy="553998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&lt;Thank you&gt;</a:t>
            </a:r>
          </a:p>
        </p:txBody>
      </p:sp>
    </p:spTree>
    <p:extLst>
      <p:ext uri="{BB962C8B-B14F-4D97-AF65-F5344CB8AC3E}">
        <p14:creationId xmlns:p14="http://schemas.microsoft.com/office/powerpoint/2010/main" val="12187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3323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159017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5944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5" r:id="rId2"/>
    <p:sldLayoutId id="2147483714" r:id="rId3"/>
    <p:sldLayoutId id="2147483717" r:id="rId4"/>
    <p:sldLayoutId id="2147483706" r:id="rId5"/>
    <p:sldLayoutId id="2147483703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069C4-D313-7B4B-A253-BE07427217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A37228-77DF-1644-B069-F70CD6A179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7A9DE8-E0C0-C447-8251-ABB08B3922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14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F09D9-EBBF-0749-92D9-33C694CE5DE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04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5E0B3C6-5A9F-4A6B-8E18-7F354F2B396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747488" y="2518812"/>
            <a:ext cx="2379600" cy="781737"/>
          </a:xfrm>
        </p:spPr>
        <p:txBody>
          <a:bodyPr/>
          <a:lstStyle/>
          <a:p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C6C84C-78EA-4851-8AF9-54E159EA6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F54995-28D5-4B31-B044-E30CEEC28A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920631-BEE8-427F-BB38-21FF1CF25DB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1C931F-4AB6-4C86-8407-FC44F4AD21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232F54D-13F0-40D5-92AE-DCA7F7C1F94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408298" y="1225561"/>
            <a:ext cx="6810997" cy="926308"/>
          </a:xfrm>
        </p:spPr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86F1C9-6E65-4DAA-B2FD-6813B93065C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1C9BA44-5C8F-4DA9-A108-1C03BBA0E2AD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pPr indent="0">
              <a:buNone/>
            </a:pP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7EDE414-23AA-4532-A3FC-8492B104AB64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pPr indent="0">
              <a:buNone/>
            </a:pP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CEB83AB-AE26-4C74-8854-D493910C2F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9591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66B61-7B2A-4C3D-8C5F-80D7CBBAE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280CCF-C9E5-4478-AFFB-879B648E85F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F5219A-F3F5-4154-A239-5777408F56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8B11D5-5DF3-4982-BD6C-132AD7407B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71E167F-6846-494D-B48E-3D449F50D40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FB5A2A-C004-4A1B-9BA4-A68F9E6D7A3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154075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169CB7-ABC2-4176-996B-2FA1BB81A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B05CC9-736D-4EC6-9150-3D983C468B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1637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233B6C29-972E-4C47-B40B-AE1DC9B4CDD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C37EC9-876D-7047-9976-C0C1D5864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AB27756-D68E-2E46-8EBA-4E7932AFECA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306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TAS">
  <a:themeElements>
    <a:clrScheme name="UTAS colour scheme">
      <a:dk1>
        <a:srgbClr val="000000"/>
      </a:dk1>
      <a:lt1>
        <a:srgbClr val="FFFFFF"/>
      </a:lt1>
      <a:dk2>
        <a:srgbClr val="E32313"/>
      </a:dk2>
      <a:lt2>
        <a:srgbClr val="FFFFFF"/>
      </a:lt2>
      <a:accent1>
        <a:srgbClr val="E32313"/>
      </a:accent1>
      <a:accent2>
        <a:srgbClr val="BE0712"/>
      </a:accent2>
      <a:accent3>
        <a:srgbClr val="595959"/>
      </a:accent3>
      <a:accent4>
        <a:srgbClr val="D8D8D8"/>
      </a:accent4>
      <a:accent5>
        <a:srgbClr val="FFFFFF"/>
      </a:accent5>
      <a:accent6>
        <a:srgbClr val="000000"/>
      </a:accent6>
      <a:hlink>
        <a:srgbClr val="1265BE"/>
      </a:hlink>
      <a:folHlink>
        <a:srgbClr val="1967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12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0" tIns="0" rIns="0" bIns="0" rtlCol="0">
        <a:sp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90813 PPT template" id="{AE33C5AF-AD2A-4754-A556-6530615ED613}" vid="{A7130C09-8F35-4697-89FC-0FA96CF1A0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913CD06085464CBD9AF5043D58E4F2" ma:contentTypeVersion="4" ma:contentTypeDescription="Create a new document." ma:contentTypeScope="" ma:versionID="ef76734950d15bb61917a0cb62b4ff86">
  <xsd:schema xmlns:xsd="http://www.w3.org/2001/XMLSchema" xmlns:xs="http://www.w3.org/2001/XMLSchema" xmlns:p="http://schemas.microsoft.com/office/2006/metadata/properties" xmlns:ns2="255cd851-123b-4dbd-80dd-07b6e35e36b6" xmlns:ns3="72d110c0-1b80-4760-bbee-6e52bd66d703" targetNamespace="http://schemas.microsoft.com/office/2006/metadata/properties" ma:root="true" ma:fieldsID="11d4693bf1018a82a24f36a4915f496d" ns2:_="" ns3:_="">
    <xsd:import namespace="255cd851-123b-4dbd-80dd-07b6e35e36b6"/>
    <xsd:import namespace="72d110c0-1b80-4760-bbee-6e52bd66d7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5cd851-123b-4dbd-80dd-07b6e35e36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d110c0-1b80-4760-bbee-6e52bd66d70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70E527-E691-4280-B421-CB306CCDC66F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72d110c0-1b80-4760-bbee-6e52bd66d703"/>
    <ds:schemaRef ds:uri="http://schemas.microsoft.com/office/infopath/2007/PartnerControls"/>
    <ds:schemaRef ds:uri="255cd851-123b-4dbd-80dd-07b6e35e36b6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AD5FBCE-5867-4D23-897E-A9043B8222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A68F0B-EB79-4B54-A3E8-7E97D7BCED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5cd851-123b-4dbd-80dd-07b6e35e36b6"/>
    <ds:schemaRef ds:uri="72d110c0-1b80-4760-bbee-6e52bd66d70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90813 PPT template</Template>
  <TotalTime>100</TotalTime>
  <Words>0</Words>
  <Application>Microsoft Office PowerPoint</Application>
  <PresentationFormat>A4 Paper (210x297 mm)</PresentationFormat>
  <Paragraphs>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 Regular</vt:lpstr>
      <vt:lpstr>Arial</vt:lpstr>
      <vt:lpstr>UTA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y Kelley</dc:creator>
  <cp:lastModifiedBy>Andrew McCulloch</cp:lastModifiedBy>
  <cp:revision>2</cp:revision>
  <cp:lastPrinted>2019-08-15T01:58:30Z</cp:lastPrinted>
  <dcterms:created xsi:type="dcterms:W3CDTF">2019-08-20T07:02:41Z</dcterms:created>
  <dcterms:modified xsi:type="dcterms:W3CDTF">2020-03-13T02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913CD06085464CBD9AF5043D58E4F2</vt:lpwstr>
  </property>
</Properties>
</file>